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327" r:id="rId3"/>
    <p:sldId id="325" r:id="rId4"/>
    <p:sldId id="309" r:id="rId5"/>
    <p:sldId id="316" r:id="rId6"/>
    <p:sldId id="317" r:id="rId7"/>
    <p:sldId id="318" r:id="rId8"/>
    <p:sldId id="319" r:id="rId9"/>
    <p:sldId id="326" r:id="rId10"/>
    <p:sldId id="324" r:id="rId11"/>
    <p:sldId id="307" r:id="rId12"/>
  </p:sldIdLst>
  <p:sldSz cx="9144000" cy="6858000" type="screen4x3"/>
  <p:notesSz cx="6797675" cy="9926638"/>
  <p:custDataLst>
    <p:tags r:id="rId14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1176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73" autoAdjust="0"/>
    <p:restoredTop sz="94660"/>
  </p:normalViewPr>
  <p:slideViewPr>
    <p:cSldViewPr>
      <p:cViewPr varScale="1">
        <p:scale>
          <a:sx n="94" d="100"/>
          <a:sy n="94" d="100"/>
        </p:scale>
        <p:origin x="1500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B79F3F-B9BC-4C66-B828-97C816169D9A}" type="datetimeFigureOut">
              <a:rPr lang="pt-BR" smtClean="0"/>
              <a:pPr/>
              <a:t>06/12/2017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B4F438-BA98-4A74-B8E6-9ACD87C13FA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4238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6304" y="5824872"/>
            <a:ext cx="5854111" cy="276842"/>
          </a:xfrm>
        </p:spPr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51288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ângulo retângulo 9"/>
          <p:cNvSpPr/>
          <p:nvPr userDrawn="1"/>
        </p:nvSpPr>
        <p:spPr>
          <a:xfrm rot="10800000" flipH="1">
            <a:off x="0" y="0"/>
            <a:ext cx="4860032" cy="2780928"/>
          </a:xfrm>
          <a:prstGeom prst="rtTriangl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Triângulo retângulo 8"/>
          <p:cNvSpPr/>
          <p:nvPr userDrawn="1"/>
        </p:nvSpPr>
        <p:spPr>
          <a:xfrm rot="10800000" flipH="1">
            <a:off x="0" y="0"/>
            <a:ext cx="3635896" cy="2902846"/>
          </a:xfrm>
          <a:prstGeom prst="rt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8" name="Triângulo retângulo 7"/>
          <p:cNvSpPr/>
          <p:nvPr userDrawn="1"/>
        </p:nvSpPr>
        <p:spPr>
          <a:xfrm rot="10800000" flipH="1">
            <a:off x="0" y="0"/>
            <a:ext cx="2880320" cy="3096344"/>
          </a:xfrm>
          <a:prstGeom prst="rtTriangl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1" name="Imagem 10" descr="Brasão da República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51520" y="260648"/>
            <a:ext cx="1224136" cy="12241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grpSp>
        <p:nvGrpSpPr>
          <p:cNvPr id="10" name="Grupo 9"/>
          <p:cNvGrpSpPr/>
          <p:nvPr userDrawn="1"/>
        </p:nvGrpSpPr>
        <p:grpSpPr>
          <a:xfrm flipH="1" flipV="1">
            <a:off x="4067944" y="5589240"/>
            <a:ext cx="5076056" cy="1268760"/>
            <a:chOff x="0" y="0"/>
            <a:chExt cx="4860032" cy="3096344"/>
          </a:xfrm>
        </p:grpSpPr>
        <p:sp>
          <p:nvSpPr>
            <p:cNvPr id="7" name="Triângulo retângulo 6"/>
            <p:cNvSpPr/>
            <p:nvPr userDrawn="1"/>
          </p:nvSpPr>
          <p:spPr>
            <a:xfrm rot="10800000" flipH="1">
              <a:off x="0" y="0"/>
              <a:ext cx="4860032" cy="278092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3635896" cy="2902846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288032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z="1020" smtClean="0">
                <a:solidFill>
                  <a:srgbClr val="FFFFFF"/>
                </a:solidFill>
                <a:cs typeface="Arial"/>
              </a:rPr>
              <a:pPr/>
              <a:t>‹nº›</a:t>
            </a:fld>
            <a:endParaRPr lang="pt-BR" sz="102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pt-BR" sz="1224" smtClean="0">
                <a:solidFill>
                  <a:srgbClr val="FFFFFF"/>
                </a:solidFill>
                <a:latin typeface="Arial"/>
                <a:cs typeface="Arial"/>
              </a:rPr>
              <a:t>|</a:t>
            </a:r>
            <a:endParaRPr lang="pt-BR" sz="1224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590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19067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B3BC2C-08D2-4312-9F1F-979EECB72AA5}" type="datetimeFigureOut">
              <a:rPr lang="pt-BR" smtClean="0"/>
              <a:pPr/>
              <a:t>06/12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D282F1-DB63-4668-AA71-832966436AFE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453708" y="2216076"/>
            <a:ext cx="7128792" cy="1077218"/>
          </a:xfrm>
        </p:spPr>
        <p:txBody>
          <a:bodyPr wrap="square">
            <a:spAutoFit/>
          </a:bodyPr>
          <a:lstStyle/>
          <a:p>
            <a:pPr algn="l"/>
            <a:r>
              <a:rPr lang="pt-BR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abertura do </a:t>
            </a:r>
            <a:r>
              <a:rPr lang="pt-BR" sz="3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ado brasileiro </a:t>
            </a:r>
            <a:r>
              <a:rPr lang="pt-BR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BR" sz="3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s: o caso LOTEX</a:t>
            </a:r>
            <a:endParaRPr lang="en-US" sz="4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"/>
          <p:cNvSpPr txBox="1">
            <a:spLocks noChangeArrowheads="1"/>
          </p:cNvSpPr>
          <p:nvPr/>
        </p:nvSpPr>
        <p:spPr bwMode="auto">
          <a:xfrm>
            <a:off x="2168237" y="6092184"/>
            <a:ext cx="49355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pt-BR" sz="1400" b="1" dirty="0" smtClean="0">
                <a:solidFill>
                  <a:srgbClr val="002060"/>
                </a:solidFill>
                <a:cs typeface="Arial"/>
              </a:rPr>
              <a:t>Brasília/DF -  </a:t>
            </a:r>
            <a:r>
              <a:rPr lang="pt-BR" sz="1400" b="1" smtClean="0">
                <a:solidFill>
                  <a:srgbClr val="002060"/>
                </a:solidFill>
                <a:cs typeface="Arial"/>
              </a:rPr>
              <a:t>6 de dezembro de  </a:t>
            </a:r>
            <a:r>
              <a:rPr lang="pt-BR" sz="1400" b="1" dirty="0" smtClean="0">
                <a:solidFill>
                  <a:srgbClr val="002060"/>
                </a:solidFill>
                <a:cs typeface="Arial"/>
              </a:rPr>
              <a:t>2017</a:t>
            </a:r>
          </a:p>
        </p:txBody>
      </p:sp>
      <p:pic>
        <p:nvPicPr>
          <p:cNvPr id="11" name="Picture 2" descr="http://redeescolas.enap.gov.br/wp-content/uploads/2016/08/GovernoFederal-Positiva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4614" y="5910768"/>
            <a:ext cx="1395961" cy="55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5841021"/>
            <a:ext cx="1272641" cy="71777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450395" y="3901343"/>
            <a:ext cx="7128792" cy="126188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xandre Manoel Angelo da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lva</a:t>
            </a:r>
          </a:p>
          <a:p>
            <a:pPr algn="l"/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ecretário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Governança Fiscal e Regulação de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</a:t>
            </a:r>
          </a:p>
          <a:p>
            <a:pPr algn="l"/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aria de Acompanhamento Econômico (MF/Seae)</a:t>
            </a: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5"/>
          <p:cNvSpPr txBox="1">
            <a:spLocks/>
          </p:cNvSpPr>
          <p:nvPr/>
        </p:nvSpPr>
        <p:spPr>
          <a:xfrm>
            <a:off x="0" y="-3916"/>
            <a:ext cx="8579296" cy="4914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ções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is</a:t>
            </a:r>
            <a:endParaRPr lang="pt-BR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ítulo 15"/>
          <p:cNvSpPr txBox="1">
            <a:spLocks/>
          </p:cNvSpPr>
          <p:nvPr/>
        </p:nvSpPr>
        <p:spPr>
          <a:xfrm>
            <a:off x="179512" y="241821"/>
            <a:ext cx="8856984" cy="59629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buFont typeface="Wingdings" panose="05000000000000000000" pitchFamily="2" charset="2"/>
              <a:buChar char="§"/>
            </a:pPr>
            <a:endParaRPr lang="en-US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en-US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sível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ja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um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u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titutibilidade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tre a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ntânea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as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i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dade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érica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je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ente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Ess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ári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á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it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utar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o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or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sileir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a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z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nd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çã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ad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éric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rá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er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novo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ssionári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EF 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érico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imind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idade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ovaçã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or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ente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so, o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éri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zenda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içã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dor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s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i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ualmente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balha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m novo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gal d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qu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a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mbém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à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da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la CEF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cançarem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m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amar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equad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âmetro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rcializaçã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mente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os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out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o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 LOTEX.</a:t>
            </a:r>
          </a:p>
          <a:p>
            <a:pPr algn="l"/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or competição significa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ior modernização, maior inovação, maior receita tributária diretamente arrecadada pelo governo, mais empregos e mais renda girando na economia.</a:t>
            </a: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 leilão competitivo com a participação das maiores empresas de loterias do mundo, o pagamento mínimo de outorga de R$ 546 milhões, um plano de negócios que sinaliza para um crescimento de mais de 30% do mercado de loterias no Brasil pelos próximos cinco anos e mais que duplicá-lo ao longo dos próximos 15 anos é sem dúvida um excelente projeto para o país.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 a chegada da Instantânea, operada por uma empresa com grande experiência, e a reforma do marco institucional do setor, esperamos um grande crescimento de todo o setor de loterias.</a:t>
            </a: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8229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ument type"/>
          <p:cNvSpPr txBox="1">
            <a:spLocks noChangeArrowheads="1"/>
          </p:cNvSpPr>
          <p:nvPr/>
        </p:nvSpPr>
        <p:spPr bwMode="auto">
          <a:xfrm>
            <a:off x="1835696" y="2924944"/>
            <a:ext cx="565313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pt-BR" sz="4800" b="1" dirty="0" smtClean="0">
                <a:solidFill>
                  <a:srgbClr val="002060"/>
                </a:solidFill>
                <a:cs typeface="Arial"/>
              </a:rPr>
              <a:t>Obrigado!</a:t>
            </a:r>
            <a:endParaRPr lang="en-US" sz="4800" b="1" dirty="0" smtClean="0">
              <a:solidFill>
                <a:srgbClr val="002060"/>
              </a:solidFill>
              <a:cs typeface="Arial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5259190"/>
            <a:ext cx="2304256" cy="1299601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8224" y="5450324"/>
            <a:ext cx="2308448" cy="91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487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</p:spPr>
        <p:txBody>
          <a:bodyPr>
            <a:normAutofit/>
          </a:bodyPr>
          <a:lstStyle/>
          <a:p>
            <a:r>
              <a:rPr lang="pt-BR" sz="3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ção</a:t>
            </a:r>
            <a:endParaRPr lang="pt-BR" sz="36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34608" y="1412776"/>
            <a:ext cx="8229600" cy="3744416"/>
          </a:xfrm>
        </p:spPr>
        <p:txBody>
          <a:bodyPr>
            <a:normAutofit fontScale="85000" lnSpcReduction="10000"/>
          </a:bodyPr>
          <a:lstStyle/>
          <a:p>
            <a:pPr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nde se situa a LOTEX, em termos do mercado nacional de loterias? </a:t>
            </a:r>
            <a:r>
              <a:rPr lang="pt-BR" sz="24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 este no de jogos de apostas</a:t>
            </a:r>
            <a:r>
              <a:rPr lang="pt-BR" sz="24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?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240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o está ocorrendo a abertura do mercado brasileiro de loterias</a:t>
            </a:r>
            <a:r>
              <a:rPr lang="pt-BR" sz="24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?</a:t>
            </a: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pt-BR" sz="240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24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onde deveremos ir com essa abertura? Quem ganha? Quem perde?</a:t>
            </a:r>
            <a:endParaRPr lang="pt-BR" sz="240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6256" y="210844"/>
            <a:ext cx="2012696" cy="850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277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2606599" y="134414"/>
            <a:ext cx="3996444" cy="64807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Jogos com apostas</a:t>
            </a:r>
            <a:endParaRPr lang="pt-BR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143508" y="3140968"/>
            <a:ext cx="3456384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out</a:t>
            </a:r>
            <a:r>
              <a:rPr lang="pt-BR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to</a:t>
            </a:r>
            <a:r>
              <a:rPr lang="pt-BR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lativamente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o, variando de 85 a 95%, dependendo do tipo de jogo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overno aufere a tributação sobre a renda liquida da premiação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</a:t>
            </a:r>
            <a:r>
              <a:rPr lang="pt-BR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ross </a:t>
            </a:r>
            <a:r>
              <a:rPr lang="pt-BR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ming</a:t>
            </a:r>
            <a:r>
              <a:rPr lang="pt-BR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t-BR" sz="16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venue</a:t>
            </a:r>
            <a:r>
              <a:rPr lang="pt-BR" sz="1600" i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-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GR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).</a:t>
            </a:r>
          </a:p>
          <a:p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icionalmente: (i) conhecimento e habilidade muitas vezes influenciam o resultado; (</a:t>
            </a:r>
            <a:r>
              <a:rPr lang="pt-BR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) nem sempre as probabilidades de ganhos são conhecidas </a:t>
            </a:r>
            <a:r>
              <a:rPr lang="pt-BR" sz="16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x-ante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6493049" y="2024047"/>
            <a:ext cx="2310273" cy="79208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Loterias </a:t>
            </a:r>
          </a:p>
          <a:p>
            <a:pPr algn="ctr"/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de Estado</a:t>
            </a:r>
            <a:endParaRPr lang="pt-B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5544108" y="2795411"/>
            <a:ext cx="3456384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t-BR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out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bruto” relativamente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ixo, variando de 50 a 70%, dependendo da modalidade.</a:t>
            </a:r>
          </a:p>
          <a:p>
            <a:endParaRPr lang="pt-BR" sz="160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GR é dividido com o governo.</a:t>
            </a:r>
          </a:p>
          <a:p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dicionalmente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: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i) nem a habilidade nem o conhecimento do jogador influencia sua probabilidade de ganho; (</a:t>
            </a:r>
            <a:r>
              <a:rPr lang="pt-BR" sz="1600" dirty="0" err="1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) as probabilidades dos resultados do jogo são determinadas </a:t>
            </a:r>
            <a:r>
              <a:rPr lang="pt-BR" sz="1600" i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x-ante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12" name="Conector angulado 11"/>
          <p:cNvCxnSpPr>
            <a:stCxn id="2" idx="2"/>
            <a:endCxn id="8" idx="0"/>
          </p:cNvCxnSpPr>
          <p:nvPr/>
        </p:nvCxnSpPr>
        <p:spPr>
          <a:xfrm rot="16200000" flipH="1">
            <a:off x="5505723" y="-118417"/>
            <a:ext cx="1241561" cy="304336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angulado 12"/>
          <p:cNvCxnSpPr>
            <a:stCxn id="2" idx="2"/>
            <a:endCxn id="9" idx="0"/>
          </p:cNvCxnSpPr>
          <p:nvPr/>
        </p:nvCxnSpPr>
        <p:spPr>
          <a:xfrm rot="5400000">
            <a:off x="2407362" y="-173413"/>
            <a:ext cx="1241561" cy="315335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ângulo 8"/>
          <p:cNvSpPr/>
          <p:nvPr/>
        </p:nvSpPr>
        <p:spPr>
          <a:xfrm>
            <a:off x="296326" y="2024047"/>
            <a:ext cx="2310273" cy="79208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 Jogos de Entretenimento com Apostas</a:t>
            </a:r>
            <a:endParaRPr lang="pt-B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ímbolo de 'Não' 15"/>
          <p:cNvSpPr/>
          <p:nvPr/>
        </p:nvSpPr>
        <p:spPr>
          <a:xfrm>
            <a:off x="2246559" y="2443520"/>
            <a:ext cx="720080" cy="720080"/>
          </a:xfrm>
          <a:prstGeom prst="noSmoking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3531642" y="712280"/>
            <a:ext cx="2146356" cy="30392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yout</a:t>
            </a: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+ GGR</a:t>
            </a:r>
            <a:endParaRPr lang="pt-B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o Explicativo 2 23"/>
          <p:cNvSpPr/>
          <p:nvPr/>
        </p:nvSpPr>
        <p:spPr>
          <a:xfrm>
            <a:off x="6916378" y="145505"/>
            <a:ext cx="2227622" cy="1509483"/>
          </a:xfrm>
          <a:prstGeom prst="borderCallout2">
            <a:avLst>
              <a:gd name="adj1" fmla="val 46138"/>
              <a:gd name="adj2" fmla="val 208"/>
              <a:gd name="adj3" fmla="val 18750"/>
              <a:gd name="adj4" fmla="val -16667"/>
              <a:gd name="adj5" fmla="val 70457"/>
              <a:gd name="adj6" fmla="val -2309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  <a:p>
            <a:pPr algn="ctr"/>
            <a:r>
              <a:rPr lang="pt-BR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sde 1941 o marco jurídico define </a:t>
            </a:r>
            <a:r>
              <a:rPr lang="pt-BR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mo crime qualquer </a:t>
            </a:r>
            <a:r>
              <a:rPr lang="pt-BR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jogo que envolve uma aposta, onde um jogador pode ganhar ou </a:t>
            </a:r>
            <a:r>
              <a:rPr lang="pt-BR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erder, conforme </a:t>
            </a:r>
            <a:r>
              <a:rPr lang="pt-BR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o art. 50 da Lei das Contravenções Penais (Decreto Lei 3.699/41) – exceto loterias.</a:t>
            </a:r>
          </a:p>
          <a:p>
            <a:pPr algn="ctr"/>
            <a:endParaRPr lang="pt-BR" dirty="0"/>
          </a:p>
        </p:txBody>
      </p:sp>
      <p:cxnSp>
        <p:nvCxnSpPr>
          <p:cNvPr id="28" name="Conector angulado 27"/>
          <p:cNvCxnSpPr>
            <a:stCxn id="2" idx="3"/>
            <a:endCxn id="24" idx="2"/>
          </p:cNvCxnSpPr>
          <p:nvPr/>
        </p:nvCxnSpPr>
        <p:spPr>
          <a:xfrm>
            <a:off x="6603043" y="458450"/>
            <a:ext cx="313335" cy="44179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1723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5"/>
          <p:cNvSpPr txBox="1">
            <a:spLocks/>
          </p:cNvSpPr>
          <p:nvPr/>
        </p:nvSpPr>
        <p:spPr>
          <a:xfrm>
            <a:off x="0" y="-3916"/>
            <a:ext cx="8579296" cy="4914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s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 Brasil</a:t>
            </a:r>
            <a:endParaRPr lang="pt-BR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ítulo 15"/>
          <p:cNvSpPr txBox="1">
            <a:spLocks/>
          </p:cNvSpPr>
          <p:nvPr/>
        </p:nvSpPr>
        <p:spPr>
          <a:xfrm>
            <a:off x="107504" y="836712"/>
            <a:ext cx="6552728" cy="48965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em quatro modalidades de loterias no mundo: </a:t>
            </a: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90600" indent="-271463" algn="l">
              <a:buFont typeface="+mj-lt"/>
              <a:buAutoNum type="alphaLcPeriod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RTEIO DE NÚMEROS (</a:t>
            </a:r>
            <a:r>
              <a:rPr lang="pt-BR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a-Sena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Quina, </a:t>
            </a:r>
            <a:r>
              <a:rPr lang="pt-BR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ofácil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BR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omania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pla Sena e a </a:t>
            </a:r>
            <a:r>
              <a:rPr lang="pt-BR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mania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990600" indent="-271463" algn="l">
              <a:buFont typeface="+mj-lt"/>
              <a:buAutoNum type="alphaLcPeriod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90600" indent="-271463" algn="l">
              <a:buFont typeface="+mj-lt"/>
              <a:buAutoNum type="alphaLcPeriod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NÓSTICOS ESPORTIVOS (Loteca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</a:t>
            </a:r>
            <a:r>
              <a:rPr lang="pt-BR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ogol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990600" indent="-271463" algn="l">
              <a:buFont typeface="+mj-lt"/>
              <a:buAutoNum type="alphaLcPeriod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90600" indent="-271463" algn="l">
              <a:buFont typeface="+mj-lt"/>
              <a:buAutoNum type="alphaLcPeriod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SIVA (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 Federal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e</a:t>
            </a:r>
          </a:p>
          <a:p>
            <a:pPr marL="990600" indent="-271463" algn="l">
              <a:buFont typeface="+mj-lt"/>
              <a:buAutoNum type="alphaLcPeriod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90600" indent="-271463" algn="l">
              <a:buFont typeface="+mj-lt"/>
              <a:buAutoNum type="alphaLcPeriod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NTÂNEA.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gulação de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s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de responsabilidade do Ministério da Fazenda, por meio da Secretaria de Acompanhamento Econômico (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e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MF), que tem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ibuiçã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gal a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rizaçã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visã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calizaçã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çã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s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ividades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éricas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 Brasil.</a:t>
            </a: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administração das loterias federais está a cargo da 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ixa </a:t>
            </a:r>
            <a:r>
              <a:rPr lang="en-US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ômica</a:t>
            </a:r>
            <a:r>
              <a:rPr lang="en-US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deral (CEF), 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sui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m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ad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e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recada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icamente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ca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2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do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B (R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,8 bilhões – 2016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/>
          <a:srcRect l="41579" r="31016"/>
          <a:stretch/>
        </p:blipFill>
        <p:spPr>
          <a:xfrm>
            <a:off x="6660232" y="692696"/>
            <a:ext cx="2088232" cy="409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615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15"/>
          <p:cNvSpPr txBox="1">
            <a:spLocks/>
          </p:cNvSpPr>
          <p:nvPr/>
        </p:nvSpPr>
        <p:spPr>
          <a:xfrm>
            <a:off x="0" y="116632"/>
            <a:ext cx="8978032" cy="360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recadação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s </a:t>
            </a:r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s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is</a:t>
            </a:r>
            <a:endParaRPr lang="pt-BR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tângulo 53"/>
          <p:cNvSpPr/>
          <p:nvPr/>
        </p:nvSpPr>
        <p:spPr>
          <a:xfrm>
            <a:off x="7596336" y="706924"/>
            <a:ext cx="11993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R$ milhões)</a:t>
            </a:r>
            <a:endParaRPr 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8721870"/>
              </p:ext>
            </p:extLst>
          </p:nvPr>
        </p:nvGraphicFramePr>
        <p:xfrm>
          <a:off x="251516" y="1014701"/>
          <a:ext cx="8439357" cy="460851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168356"/>
                <a:gridCol w="864096"/>
                <a:gridCol w="864096"/>
                <a:gridCol w="864096"/>
                <a:gridCol w="936978"/>
                <a:gridCol w="864096"/>
                <a:gridCol w="877639"/>
              </a:tblGrid>
              <a:tr h="658359"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as</a:t>
                      </a:r>
                      <a:endParaRPr lang="pt-BR" sz="14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re</a:t>
                      </a:r>
                    </a:p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016)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6583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rteio</a:t>
                      </a:r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</a:t>
                      </a:r>
                      <a:r>
                        <a:rPr lang="en-US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úmero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921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880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935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402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374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,40%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6583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nósticos</a:t>
                      </a:r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portivo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,5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,4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,4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7,7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1,8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5%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6583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ssiva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0,1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1,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1,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1,4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0,6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5%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65835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tantânea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6,7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,2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1,5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65835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90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4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532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900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836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658359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do PIB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1%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1%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4%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5%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1%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87" name="Título 15"/>
          <p:cNvSpPr txBox="1">
            <a:spLocks/>
          </p:cNvSpPr>
          <p:nvPr/>
        </p:nvSpPr>
        <p:spPr>
          <a:xfrm>
            <a:off x="252193" y="5892668"/>
            <a:ext cx="3398793" cy="3446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563" indent="-182563" algn="l"/>
            <a:r>
              <a:rPr lang="en-US" sz="12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*  A </a:t>
            </a:r>
            <a:r>
              <a:rPr lang="en-US" sz="12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ção</a:t>
            </a:r>
            <a:r>
              <a:rPr lang="en-US" sz="12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o </a:t>
            </a:r>
            <a:r>
              <a:rPr lang="en-US" sz="12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necimento</a:t>
            </a:r>
            <a:r>
              <a:rPr lang="en-US" sz="12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se</a:t>
            </a:r>
            <a:r>
              <a:rPr lang="en-US" sz="12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to</a:t>
            </a:r>
            <a:r>
              <a:rPr lang="en-US" sz="12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i</a:t>
            </a:r>
            <a:r>
              <a:rPr lang="en-US" sz="12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penso</a:t>
            </a:r>
            <a:r>
              <a:rPr lang="en-US" sz="12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</a:t>
            </a:r>
            <a:r>
              <a:rPr lang="en-US" sz="12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ço</a:t>
            </a:r>
            <a:r>
              <a:rPr lang="en-US" sz="12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2015.</a:t>
            </a:r>
          </a:p>
          <a:p>
            <a:pPr algn="l"/>
            <a:endParaRPr lang="pt-BR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923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5"/>
          <p:cNvSpPr txBox="1">
            <a:spLocks/>
          </p:cNvSpPr>
          <p:nvPr/>
        </p:nvSpPr>
        <p:spPr>
          <a:xfrm>
            <a:off x="0" y="-3916"/>
            <a:ext cx="8579296" cy="4914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ntânea</a:t>
            </a:r>
            <a:endParaRPr lang="pt-BR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ítulo 15"/>
          <p:cNvSpPr txBox="1">
            <a:spLocks/>
          </p:cNvSpPr>
          <p:nvPr/>
        </p:nvSpPr>
        <p:spPr>
          <a:xfrm>
            <a:off x="107504" y="692696"/>
            <a:ext cx="6408712" cy="50405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i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ontinuada em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; </a:t>
            </a:r>
            <a:r>
              <a:rPr lang="pt-BR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ão havendo, portanto, qualquer tipo de operação deste serviço no âmbito </a:t>
            </a:r>
            <a:r>
              <a:rPr lang="pt-BR" sz="16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l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so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onteceu por determinação da Controladoria Geral da União, que apontou haver inadequado instrumento legal para sua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cionalização.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lelamente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isso, a Lei Federal nº 13.155/2015 autorizou o Poder Executivo federal a instituir o Serviço Público de Loteria Instantânea Exclusiva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OTEX).</a:t>
            </a: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oteria instantânea é a segunda mais importante no mercado lotérico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dial: 25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(em média)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mercado mundial de loterias. </a:t>
            </a: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/>
          <a:srcRect l="59007" r="6989"/>
          <a:stretch/>
        </p:blipFill>
        <p:spPr>
          <a:xfrm>
            <a:off x="6516216" y="548680"/>
            <a:ext cx="2448272" cy="4797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457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5"/>
          <p:cNvSpPr txBox="1">
            <a:spLocks/>
          </p:cNvSpPr>
          <p:nvPr/>
        </p:nvSpPr>
        <p:spPr>
          <a:xfrm>
            <a:off x="0" y="-3916"/>
            <a:ext cx="8579296" cy="4914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X</a:t>
            </a:r>
            <a:endParaRPr lang="pt-BR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ítulo 15"/>
          <p:cNvSpPr txBox="1">
            <a:spLocks/>
          </p:cNvSpPr>
          <p:nvPr/>
        </p:nvSpPr>
        <p:spPr>
          <a:xfrm>
            <a:off x="114265" y="487760"/>
            <a:ext cx="5472608" cy="216679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ei 13.155, de 04 de Agosto de 2015,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mentada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la Lei 13.262, de 22 de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ç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2016,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eleceu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nova base legal para a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dade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ís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ind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ssã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um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ç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úblic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l"/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0401110"/>
              </p:ext>
            </p:extLst>
          </p:nvPr>
        </p:nvGraphicFramePr>
        <p:xfrm>
          <a:off x="190532" y="2038214"/>
          <a:ext cx="5400600" cy="16400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12"/>
                <a:gridCol w="1008112"/>
                <a:gridCol w="3384376"/>
              </a:tblGrid>
              <a:tr h="530481">
                <a:tc rowSpan="3"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 </a:t>
                      </a:r>
                    </a:p>
                    <a:p>
                      <a:pPr algn="ctr"/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da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%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yout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523214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3%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pesas de custeio e manutenção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530481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7%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tinação</a:t>
                      </a: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ocial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2367" y="434377"/>
            <a:ext cx="2514238" cy="2220175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8822" y="2414029"/>
            <a:ext cx="1641327" cy="2461990"/>
          </a:xfrm>
          <a:prstGeom prst="rect">
            <a:avLst/>
          </a:prstGeom>
        </p:spPr>
      </p:pic>
      <p:sp>
        <p:nvSpPr>
          <p:cNvPr id="10" name="Retângulo 9"/>
          <p:cNvSpPr/>
          <p:nvPr/>
        </p:nvSpPr>
        <p:spPr>
          <a:xfrm>
            <a:off x="196932" y="3861048"/>
            <a:ext cx="567121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cialmente, o planejamento preliminar era de privatização de uma subsidiária da CEF - CAIXA INSTANTANEA S.A. - para a operação da LOTEX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AIXA INSTANTANEA S.A. foi criada em janeiro de 2016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inda que o artigo 173 da Constituição não tenha sido atendido (Segurança Nacional ou Interesse Coletivo).</a:t>
            </a: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8839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5"/>
          <p:cNvSpPr txBox="1">
            <a:spLocks/>
          </p:cNvSpPr>
          <p:nvPr/>
        </p:nvSpPr>
        <p:spPr>
          <a:xfrm>
            <a:off x="0" y="-3916"/>
            <a:ext cx="8579296" cy="4914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X</a:t>
            </a:r>
            <a:endParaRPr lang="pt-BR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ítulo 15"/>
          <p:cNvSpPr txBox="1">
            <a:spLocks/>
          </p:cNvSpPr>
          <p:nvPr/>
        </p:nvSpPr>
        <p:spPr>
          <a:xfrm>
            <a:off x="0" y="570452"/>
            <a:ext cx="6516216" cy="59954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buFont typeface="Wingdings" panose="05000000000000000000" pitchFamily="2" charset="2"/>
              <a:buChar char="§"/>
            </a:pPr>
            <a:endParaRPr lang="en-US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 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dança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de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çã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çã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rias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ís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ização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 LOTEX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çou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sta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nda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6.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o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cional do Desenvolvimento Econômico e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(BNDES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é o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ável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la execução e acompanhamento do processo de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statização e a Seae/MF pela coordenação dos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dimentos e das etapas do referido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o.</a:t>
            </a: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DES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ou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ores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cnicos para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processo de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estatização; os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udos recomendaram a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ssão comum </a:t>
            </a:r>
            <a:r>
              <a:rPr lang="pt-BR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LOTEX, como o modelo mais adequado a ser adotado pela União.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l="19288" t="-1001" r="55513" b="1001"/>
          <a:stretch/>
        </p:blipFill>
        <p:spPr>
          <a:xfrm>
            <a:off x="6516216" y="241821"/>
            <a:ext cx="230425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979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5"/>
          <p:cNvSpPr txBox="1">
            <a:spLocks/>
          </p:cNvSpPr>
          <p:nvPr/>
        </p:nvSpPr>
        <p:spPr>
          <a:xfrm>
            <a:off x="0" y="-3916"/>
            <a:ext cx="8579296" cy="4914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EX – </a:t>
            </a:r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statização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io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ssão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um</a:t>
            </a:r>
            <a:endParaRPr lang="pt-BR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ítulo 15"/>
          <p:cNvSpPr txBox="1">
            <a:spLocks/>
          </p:cNvSpPr>
          <p:nvPr/>
        </p:nvSpPr>
        <p:spPr>
          <a:xfrm>
            <a:off x="107504" y="692696"/>
            <a:ext cx="5904656" cy="55446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comendação de concessão comum para uma empresa privada com experiência na operação de loterias instantâneas em outros mercados globais está baseada no fato de que a LOTEX não é um serviço público 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sencial; não há interesse coletivo nele.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cionalmente à possibilidade legal de concessão desse serviço público, o Governo Federal considerou quatro elementos na tomada de decisão</a:t>
            </a: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l"/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t-BR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400050" algn="l">
              <a:buFont typeface="+mj-lt"/>
              <a:buAutoNum type="romanLcPeriod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se serviço público será provido às custas e aos riscos do concessionário privado; </a:t>
            </a:r>
          </a:p>
          <a:p>
            <a:pPr marL="400050" indent="-400050" algn="l">
              <a:buFont typeface="+mj-lt"/>
              <a:buAutoNum type="romanLcPeriod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ência de qualquer subsídio do Governo Federal, diretamente ou por meio de empresas estatais;</a:t>
            </a:r>
          </a:p>
          <a:p>
            <a:pPr marL="400050" indent="-400050" algn="l">
              <a:buFont typeface="+mj-lt"/>
              <a:buAutoNum type="romanLcPeriod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Governo Federal é o principal beneficiário do sucesso da LOTEX, auferindo 16.7% do faturamento e imposto de renda advindo do lucro do concessionário  e dos ganhadores de prêmios; e</a:t>
            </a:r>
          </a:p>
          <a:p>
            <a:pPr marL="400050" indent="-400050" algn="l">
              <a:buFont typeface="+mj-lt"/>
              <a:buAutoNum type="romanLcPeriod"/>
            </a:pPr>
            <a:r>
              <a:rPr lang="pt-BR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criação de um ambiente competitivo no mercado lotérico como um todo.</a:t>
            </a:r>
            <a:endParaRPr lang="pt-BR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l="51575" r="33463"/>
          <a:stretch/>
        </p:blipFill>
        <p:spPr>
          <a:xfrm>
            <a:off x="6516216" y="980728"/>
            <a:ext cx="1944216" cy="445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45</TotalTime>
  <Words>1167</Words>
  <Application>Microsoft Office PowerPoint</Application>
  <PresentationFormat>Apresentação na tela (4:3)</PresentationFormat>
  <Paragraphs>150</Paragraphs>
  <Slides>1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Tema do Office</vt:lpstr>
      <vt:lpstr>think-cell Slide</vt:lpstr>
      <vt:lpstr>A abertura do mercado brasileiro de loterias: o caso LOTEX</vt:lpstr>
      <vt:lpstr>Introduçã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ernando.fusaro</dc:creator>
  <cp:lastModifiedBy>Alexandre Manoel Angelo Da Silva</cp:lastModifiedBy>
  <cp:revision>483</cp:revision>
  <cp:lastPrinted>2017-12-06T14:30:29Z</cp:lastPrinted>
  <dcterms:created xsi:type="dcterms:W3CDTF">2016-06-27T21:04:47Z</dcterms:created>
  <dcterms:modified xsi:type="dcterms:W3CDTF">2017-12-06T14:30:41Z</dcterms:modified>
</cp:coreProperties>
</file>